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6" r:id="rId5"/>
  </p:sldMasterIdLst>
  <p:notesMasterIdLst>
    <p:notesMasterId r:id="rId10"/>
  </p:notesMasterIdLst>
  <p:handoutMasterIdLst>
    <p:handoutMasterId r:id="rId11"/>
  </p:handoutMasterIdLst>
  <p:sldIdLst>
    <p:sldId id="705" r:id="rId6"/>
    <p:sldId id="693" r:id="rId7"/>
    <p:sldId id="704" r:id="rId8"/>
    <p:sldId id="69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05"/>
            <p14:sldId id="693"/>
            <p14:sldId id="704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0832BC-0A7F-4841-8EBF-8B1F539080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2026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61191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26485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33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652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296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89955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44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44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67151" y="2196185"/>
            <a:ext cx="5211044" cy="1232815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tring Manipulation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76981" y="1117221"/>
            <a:ext cx="7543800" cy="5254177"/>
          </a:xfrm>
          <a:prstGeom prst="rect">
            <a:avLst/>
          </a:prstGeom>
          <a:ln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86FB87-A839-412B-91F8-85EDCAB02786}"/>
              </a:ext>
            </a:extLst>
          </p:cNvPr>
          <p:cNvSpPr txBox="1"/>
          <p:nvPr/>
        </p:nvSpPr>
        <p:spPr>
          <a:xfrm>
            <a:off x="8135006" y="2171460"/>
            <a:ext cx="3842844" cy="2579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ython can tell you the data type by using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ype() 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unction. Python refers integer number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float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loa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character or text as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r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2200" b="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ean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US" sz="22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3</TotalTime>
  <Words>53</Words>
  <Application>Microsoft Office PowerPoint</Application>
  <PresentationFormat>Widescreen</PresentationFormat>
  <Paragraphs>6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2_Office Theme</vt:lpstr>
      <vt:lpstr>3_Office Theme</vt:lpstr>
      <vt:lpstr>think-cell Slide</vt:lpstr>
      <vt:lpstr>Introduction to Programming in Python</vt:lpstr>
      <vt:lpstr>String Manipulation in Pyth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5</cp:revision>
  <dcterms:created xsi:type="dcterms:W3CDTF">2020-03-16T19:15:12Z</dcterms:created>
  <dcterms:modified xsi:type="dcterms:W3CDTF">2024-05-03T12:1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